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0" r:id="rId1"/>
  </p:sldMasterIdLst>
  <p:sldIdLst>
    <p:sldId id="256" r:id="rId2"/>
    <p:sldId id="2331" r:id="rId3"/>
    <p:sldId id="2345" r:id="rId4"/>
    <p:sldId id="2342" r:id="rId5"/>
    <p:sldId id="2327" r:id="rId6"/>
    <p:sldId id="2344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75"/>
    <p:restoredTop sz="96255"/>
  </p:normalViewPr>
  <p:slideViewPr>
    <p:cSldViewPr snapToGrid="0">
      <p:cViewPr varScale="1">
        <p:scale>
          <a:sx n="122" d="100"/>
          <a:sy n="122" d="100"/>
        </p:scale>
        <p:origin x="208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EE237C-CDD8-452D-85B5-16BF90175C9C}" type="doc">
      <dgm:prSet loTypeId="urn:microsoft.com/office/officeart/2005/8/layout/process1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C0C791-58C5-4ADB-9B48-E230F332EBFE}">
      <dgm:prSet phldrT="[Text]"/>
      <dgm:spPr/>
      <dgm:t>
        <a:bodyPr/>
        <a:lstStyle/>
        <a:p>
          <a:r>
            <a:rPr lang="en-US" dirty="0"/>
            <a:t>Data preparation</a:t>
          </a:r>
        </a:p>
      </dgm:t>
    </dgm:pt>
    <dgm:pt modelId="{4CE4C148-8EA2-4CD1-AB58-2B62EEC8AB5D}" type="parTrans" cxnId="{488CC205-2DCB-4D32-B52B-557D8716DFF7}">
      <dgm:prSet/>
      <dgm:spPr/>
      <dgm:t>
        <a:bodyPr/>
        <a:lstStyle/>
        <a:p>
          <a:endParaRPr lang="en-US"/>
        </a:p>
      </dgm:t>
    </dgm:pt>
    <dgm:pt modelId="{66F12253-2B60-4DF3-B3E1-DA8655A38F50}" type="sibTrans" cxnId="{488CC205-2DCB-4D32-B52B-557D8716DFF7}">
      <dgm:prSet/>
      <dgm:spPr/>
      <dgm:t>
        <a:bodyPr/>
        <a:lstStyle/>
        <a:p>
          <a:endParaRPr lang="en-US"/>
        </a:p>
      </dgm:t>
    </dgm:pt>
    <dgm:pt modelId="{BA4E47E7-B4F8-4033-A090-B716FBC7A1A7}">
      <dgm:prSet phldrT="[Text]"/>
      <dgm:spPr/>
      <dgm:t>
        <a:bodyPr/>
        <a:lstStyle/>
        <a:p>
          <a:r>
            <a:rPr lang="en-US" dirty="0"/>
            <a:t>EDA</a:t>
          </a:r>
        </a:p>
      </dgm:t>
    </dgm:pt>
    <dgm:pt modelId="{AD805E2A-82EC-4839-80D9-CB168B2A96B1}" type="parTrans" cxnId="{8C69E3B0-75D4-4999-8C6C-BB9BADFB5704}">
      <dgm:prSet/>
      <dgm:spPr/>
      <dgm:t>
        <a:bodyPr/>
        <a:lstStyle/>
        <a:p>
          <a:endParaRPr lang="en-US"/>
        </a:p>
      </dgm:t>
    </dgm:pt>
    <dgm:pt modelId="{2B771C12-150D-419D-9592-4E49B3FBF095}" type="sibTrans" cxnId="{8C69E3B0-75D4-4999-8C6C-BB9BADFB5704}">
      <dgm:prSet/>
      <dgm:spPr/>
      <dgm:t>
        <a:bodyPr/>
        <a:lstStyle/>
        <a:p>
          <a:endParaRPr lang="en-US"/>
        </a:p>
      </dgm:t>
    </dgm:pt>
    <dgm:pt modelId="{A5D8048C-2D22-4720-916D-C7DA3DBDDEF6}">
      <dgm:prSet phldrT="[Text]"/>
      <dgm:spPr/>
      <dgm:t>
        <a:bodyPr/>
        <a:lstStyle/>
        <a:p>
          <a:r>
            <a:rPr lang="en-US" dirty="0"/>
            <a:t>Data Pre-processing</a:t>
          </a:r>
        </a:p>
      </dgm:t>
    </dgm:pt>
    <dgm:pt modelId="{94CB64CC-1FEF-438A-8DBF-420489C36C99}" type="parTrans" cxnId="{A666791C-ABB3-4CD5-8F16-A25BA292BB58}">
      <dgm:prSet/>
      <dgm:spPr/>
      <dgm:t>
        <a:bodyPr/>
        <a:lstStyle/>
        <a:p>
          <a:endParaRPr lang="en-US"/>
        </a:p>
      </dgm:t>
    </dgm:pt>
    <dgm:pt modelId="{AC6AFEBB-FAD6-422A-AEDD-F379F391F6F1}" type="sibTrans" cxnId="{A666791C-ABB3-4CD5-8F16-A25BA292BB58}">
      <dgm:prSet/>
      <dgm:spPr/>
      <dgm:t>
        <a:bodyPr/>
        <a:lstStyle/>
        <a:p>
          <a:endParaRPr lang="en-US"/>
        </a:p>
      </dgm:t>
    </dgm:pt>
    <dgm:pt modelId="{F6E94D59-0FF9-4D56-A95E-1C921C3FB338}">
      <dgm:prSet phldrT="[Text]"/>
      <dgm:spPr/>
      <dgm:t>
        <a:bodyPr/>
        <a:lstStyle/>
        <a:p>
          <a:r>
            <a:rPr lang="en-US" dirty="0"/>
            <a:t>Topics extraction</a:t>
          </a:r>
        </a:p>
      </dgm:t>
    </dgm:pt>
    <dgm:pt modelId="{B9069A7E-4007-4A8E-A0F2-49115C635B58}" type="parTrans" cxnId="{7790A92C-4702-4462-86FE-D6C643CF8982}">
      <dgm:prSet/>
      <dgm:spPr/>
      <dgm:t>
        <a:bodyPr/>
        <a:lstStyle/>
        <a:p>
          <a:endParaRPr lang="en-US"/>
        </a:p>
      </dgm:t>
    </dgm:pt>
    <dgm:pt modelId="{D315BC03-9660-4664-8AE5-716A648A1848}" type="sibTrans" cxnId="{7790A92C-4702-4462-86FE-D6C643CF8982}">
      <dgm:prSet/>
      <dgm:spPr/>
      <dgm:t>
        <a:bodyPr/>
        <a:lstStyle/>
        <a:p>
          <a:endParaRPr lang="en-US"/>
        </a:p>
      </dgm:t>
    </dgm:pt>
    <dgm:pt modelId="{19E86810-E8D7-447F-BE83-583D92E2E3D3}">
      <dgm:prSet phldrT="[Text]"/>
      <dgm:spPr/>
      <dgm:t>
        <a:bodyPr/>
        <a:lstStyle/>
        <a:p>
          <a:r>
            <a:rPr lang="en-US" dirty="0"/>
            <a:t>Modelling</a:t>
          </a:r>
        </a:p>
      </dgm:t>
    </dgm:pt>
    <dgm:pt modelId="{4BAA8C26-A68A-45DE-ADDC-45E511756094}" type="parTrans" cxnId="{D372FFBF-E559-4DFE-B88C-4E67CDE8B2D1}">
      <dgm:prSet/>
      <dgm:spPr/>
      <dgm:t>
        <a:bodyPr/>
        <a:lstStyle/>
        <a:p>
          <a:endParaRPr lang="en-US"/>
        </a:p>
      </dgm:t>
    </dgm:pt>
    <dgm:pt modelId="{FDBBC9A8-7109-4FE8-9648-752D88B4ABBF}" type="sibTrans" cxnId="{D372FFBF-E559-4DFE-B88C-4E67CDE8B2D1}">
      <dgm:prSet/>
      <dgm:spPr/>
      <dgm:t>
        <a:bodyPr/>
        <a:lstStyle/>
        <a:p>
          <a:endParaRPr lang="en-US"/>
        </a:p>
      </dgm:t>
    </dgm:pt>
    <dgm:pt modelId="{E680DF4F-3527-44C6-8F09-BABC9FBE8DAB}">
      <dgm:prSet/>
      <dgm:spPr/>
      <dgm:t>
        <a:bodyPr/>
        <a:lstStyle/>
        <a:p>
          <a:r>
            <a:rPr lang="en-US" dirty="0"/>
            <a:t>Remove system messages</a:t>
          </a:r>
        </a:p>
      </dgm:t>
    </dgm:pt>
    <dgm:pt modelId="{39BF1689-ACEB-47A8-A2D9-E49FB5C9806E}" type="parTrans" cxnId="{387D7F2C-3FF3-40D5-914E-4E4828F94A76}">
      <dgm:prSet/>
      <dgm:spPr/>
      <dgm:t>
        <a:bodyPr/>
        <a:lstStyle/>
        <a:p>
          <a:endParaRPr lang="en-US"/>
        </a:p>
      </dgm:t>
    </dgm:pt>
    <dgm:pt modelId="{DA610275-52D9-4FBB-B734-F3269B7BECDF}" type="sibTrans" cxnId="{387D7F2C-3FF3-40D5-914E-4E4828F94A76}">
      <dgm:prSet/>
      <dgm:spPr/>
      <dgm:t>
        <a:bodyPr/>
        <a:lstStyle/>
        <a:p>
          <a:endParaRPr lang="en-US"/>
        </a:p>
      </dgm:t>
    </dgm:pt>
    <dgm:pt modelId="{DA9B208C-7B98-436F-A824-AE92645D3791}">
      <dgm:prSet/>
      <dgm:spPr/>
      <dgm:t>
        <a:bodyPr/>
        <a:lstStyle/>
        <a:p>
          <a:r>
            <a:rPr lang="en-US" dirty="0"/>
            <a:t>User commands</a:t>
          </a:r>
        </a:p>
      </dgm:t>
    </dgm:pt>
    <dgm:pt modelId="{1FA37288-146D-48DD-8393-86B42C63B313}" type="parTrans" cxnId="{9979A621-4AA2-44CF-96FC-39D222D5B201}">
      <dgm:prSet/>
      <dgm:spPr/>
      <dgm:t>
        <a:bodyPr/>
        <a:lstStyle/>
        <a:p>
          <a:endParaRPr lang="en-US"/>
        </a:p>
      </dgm:t>
    </dgm:pt>
    <dgm:pt modelId="{1E683A14-3A42-4A3B-910A-CB235BD4B0CA}" type="sibTrans" cxnId="{9979A621-4AA2-44CF-96FC-39D222D5B201}">
      <dgm:prSet/>
      <dgm:spPr/>
      <dgm:t>
        <a:bodyPr/>
        <a:lstStyle/>
        <a:p>
          <a:endParaRPr lang="en-US"/>
        </a:p>
      </dgm:t>
    </dgm:pt>
    <dgm:pt modelId="{34C57FC9-E49F-4E66-A16B-FAAEFA770D09}">
      <dgm:prSet/>
      <dgm:spPr/>
      <dgm:t>
        <a:bodyPr/>
        <a:lstStyle/>
        <a:p>
          <a:r>
            <a:rPr lang="en-US" dirty="0"/>
            <a:t>Generic responses</a:t>
          </a:r>
        </a:p>
      </dgm:t>
    </dgm:pt>
    <dgm:pt modelId="{A7B60341-CF80-4970-AC8E-2315ECCB7D3A}" type="parTrans" cxnId="{F6E07EAF-EDFA-4963-A736-0F12AB25A5BA}">
      <dgm:prSet/>
      <dgm:spPr/>
      <dgm:t>
        <a:bodyPr/>
        <a:lstStyle/>
        <a:p>
          <a:endParaRPr lang="en-US"/>
        </a:p>
      </dgm:t>
    </dgm:pt>
    <dgm:pt modelId="{CC2C9635-7C2D-4D0E-98D5-ACC6A15EF472}" type="sibTrans" cxnId="{F6E07EAF-EDFA-4963-A736-0F12AB25A5BA}">
      <dgm:prSet/>
      <dgm:spPr/>
      <dgm:t>
        <a:bodyPr/>
        <a:lstStyle/>
        <a:p>
          <a:endParaRPr lang="en-US"/>
        </a:p>
      </dgm:t>
    </dgm:pt>
    <dgm:pt modelId="{6AE7600B-BAF0-4775-A08A-74C013B7BE72}">
      <dgm:prSet/>
      <dgm:spPr/>
      <dgm:t>
        <a:bodyPr/>
        <a:lstStyle/>
        <a:p>
          <a:r>
            <a:rPr lang="en-US" dirty="0"/>
            <a:t>Chat/Voice shortcuts or regulatory portions</a:t>
          </a:r>
        </a:p>
      </dgm:t>
    </dgm:pt>
    <dgm:pt modelId="{62BDEE75-BF19-4AD6-BF6B-85454476983B}" type="parTrans" cxnId="{CF8DA2E4-B090-4573-9B93-CE06502E982E}">
      <dgm:prSet/>
      <dgm:spPr/>
      <dgm:t>
        <a:bodyPr/>
        <a:lstStyle/>
        <a:p>
          <a:endParaRPr lang="en-US"/>
        </a:p>
      </dgm:t>
    </dgm:pt>
    <dgm:pt modelId="{5CD018F3-CE23-42BE-8651-DC714E900FDC}" type="sibTrans" cxnId="{CF8DA2E4-B090-4573-9B93-CE06502E982E}">
      <dgm:prSet/>
      <dgm:spPr/>
      <dgm:t>
        <a:bodyPr/>
        <a:lstStyle/>
        <a:p>
          <a:endParaRPr lang="en-US"/>
        </a:p>
      </dgm:t>
    </dgm:pt>
    <dgm:pt modelId="{853105DD-DAC7-4E92-9340-3C2537BE8691}">
      <dgm:prSet/>
      <dgm:spPr/>
      <dgm:t>
        <a:bodyPr/>
        <a:lstStyle/>
        <a:p>
          <a:r>
            <a:rPr lang="en-US" dirty="0"/>
            <a:t>Non-customer data removal</a:t>
          </a:r>
        </a:p>
      </dgm:t>
    </dgm:pt>
    <dgm:pt modelId="{08B9461A-AA5A-49C5-8304-95A06F0EE526}" type="parTrans" cxnId="{A4963C72-8A66-448D-96F9-6E106749DF1D}">
      <dgm:prSet/>
      <dgm:spPr/>
      <dgm:t>
        <a:bodyPr/>
        <a:lstStyle/>
        <a:p>
          <a:endParaRPr lang="en-US"/>
        </a:p>
      </dgm:t>
    </dgm:pt>
    <dgm:pt modelId="{93DA165E-6D6E-4442-863B-1E362B0F9C66}" type="sibTrans" cxnId="{A4963C72-8A66-448D-96F9-6E106749DF1D}">
      <dgm:prSet/>
      <dgm:spPr/>
      <dgm:t>
        <a:bodyPr/>
        <a:lstStyle/>
        <a:p>
          <a:endParaRPr lang="en-US"/>
        </a:p>
      </dgm:t>
    </dgm:pt>
    <dgm:pt modelId="{FEE969A2-1BE2-475B-AE55-E133B3E441EA}">
      <dgm:prSet/>
      <dgm:spPr/>
      <dgm:t>
        <a:bodyPr/>
        <a:lstStyle/>
        <a:p>
          <a:r>
            <a:rPr lang="en-US" dirty="0"/>
            <a:t>Assess different types of conversations by length, time of day</a:t>
          </a:r>
        </a:p>
      </dgm:t>
    </dgm:pt>
    <dgm:pt modelId="{444FB96C-2EC2-4B25-873B-69C6A2277285}" type="parTrans" cxnId="{37BF55F7-9A25-4126-A5E8-B405F8D99BE8}">
      <dgm:prSet/>
      <dgm:spPr/>
      <dgm:t>
        <a:bodyPr/>
        <a:lstStyle/>
        <a:p>
          <a:endParaRPr lang="en-US"/>
        </a:p>
      </dgm:t>
    </dgm:pt>
    <dgm:pt modelId="{FE62D36D-25C3-4058-A873-F4111838A155}" type="sibTrans" cxnId="{37BF55F7-9A25-4126-A5E8-B405F8D99BE8}">
      <dgm:prSet/>
      <dgm:spPr/>
      <dgm:t>
        <a:bodyPr/>
        <a:lstStyle/>
        <a:p>
          <a:endParaRPr lang="en-US"/>
        </a:p>
      </dgm:t>
    </dgm:pt>
    <dgm:pt modelId="{F0E901F4-3180-4C1F-A656-D1947B3A23C5}">
      <dgm:prSet/>
      <dgm:spPr/>
      <dgm:t>
        <a:bodyPr/>
        <a:lstStyle/>
        <a:p>
          <a:r>
            <a:rPr lang="en-US" dirty="0"/>
            <a:t>Serves as a good pre-cursor for pre-processing</a:t>
          </a:r>
        </a:p>
      </dgm:t>
    </dgm:pt>
    <dgm:pt modelId="{6E39AA82-0297-4C72-BB74-7909F60126EF}" type="parTrans" cxnId="{B321F7A9-1899-406E-8EF8-558CCB10D8A4}">
      <dgm:prSet/>
      <dgm:spPr/>
      <dgm:t>
        <a:bodyPr/>
        <a:lstStyle/>
        <a:p>
          <a:endParaRPr lang="en-US"/>
        </a:p>
      </dgm:t>
    </dgm:pt>
    <dgm:pt modelId="{B7D1AB93-B5C7-4CFE-A02E-2188DDF58756}" type="sibTrans" cxnId="{B321F7A9-1899-406E-8EF8-558CCB10D8A4}">
      <dgm:prSet/>
      <dgm:spPr/>
      <dgm:t>
        <a:bodyPr/>
        <a:lstStyle/>
        <a:p>
          <a:endParaRPr lang="en-US"/>
        </a:p>
      </dgm:t>
    </dgm:pt>
    <dgm:pt modelId="{7F91A108-9E43-43F9-A951-2D056D87A04E}">
      <dgm:prSet/>
      <dgm:spPr/>
      <dgm:t>
        <a:bodyPr/>
        <a:lstStyle/>
        <a:p>
          <a:r>
            <a:rPr lang="en-US" dirty="0"/>
            <a:t>Meta data analyses</a:t>
          </a:r>
        </a:p>
      </dgm:t>
    </dgm:pt>
    <dgm:pt modelId="{39991523-0339-461D-BD77-9F888DBD3CAB}" type="parTrans" cxnId="{2C154DE5-F4D3-41F7-8443-743827AF2439}">
      <dgm:prSet/>
      <dgm:spPr/>
      <dgm:t>
        <a:bodyPr/>
        <a:lstStyle/>
        <a:p>
          <a:endParaRPr lang="en-US"/>
        </a:p>
      </dgm:t>
    </dgm:pt>
    <dgm:pt modelId="{C2C78289-93AB-45E2-B527-605359978723}" type="sibTrans" cxnId="{2C154DE5-F4D3-41F7-8443-743827AF2439}">
      <dgm:prSet/>
      <dgm:spPr/>
      <dgm:t>
        <a:bodyPr/>
        <a:lstStyle/>
        <a:p>
          <a:endParaRPr lang="en-US"/>
        </a:p>
      </dgm:t>
    </dgm:pt>
    <dgm:pt modelId="{0B8538E6-B1F0-414F-8E23-DC6B2CAB57A0}">
      <dgm:prSet/>
      <dgm:spPr/>
      <dgm:t>
        <a:bodyPr/>
        <a:lstStyle/>
        <a:p>
          <a:r>
            <a:rPr lang="en-US" dirty="0"/>
            <a:t>Remove new-line characters, emails etc.,</a:t>
          </a:r>
        </a:p>
      </dgm:t>
    </dgm:pt>
    <dgm:pt modelId="{D06EEDCC-56D2-44AE-B5AA-1439514F1716}" type="parTrans" cxnId="{0934B026-616D-4054-AED0-98A47C805B49}">
      <dgm:prSet/>
      <dgm:spPr/>
      <dgm:t>
        <a:bodyPr/>
        <a:lstStyle/>
        <a:p>
          <a:endParaRPr lang="en-US"/>
        </a:p>
      </dgm:t>
    </dgm:pt>
    <dgm:pt modelId="{E667E51E-78B7-4237-A967-F0B4E98A295B}" type="sibTrans" cxnId="{0934B026-616D-4054-AED0-98A47C805B49}">
      <dgm:prSet/>
      <dgm:spPr/>
      <dgm:t>
        <a:bodyPr/>
        <a:lstStyle/>
        <a:p>
          <a:endParaRPr lang="en-US"/>
        </a:p>
      </dgm:t>
    </dgm:pt>
    <dgm:pt modelId="{835B126C-F729-4B47-9F4D-1EA2BD3742C2}">
      <dgm:prSet/>
      <dgm:spPr/>
      <dgm:t>
        <a:bodyPr/>
        <a:lstStyle/>
        <a:p>
          <a:r>
            <a:rPr lang="en-US" dirty="0"/>
            <a:t>Tokenize the words</a:t>
          </a:r>
        </a:p>
      </dgm:t>
    </dgm:pt>
    <dgm:pt modelId="{D623AF95-D1EB-4342-A7B0-E125F04971EB}" type="parTrans" cxnId="{BDDC38B5-2882-4FDE-8774-AD039159C52F}">
      <dgm:prSet/>
      <dgm:spPr/>
      <dgm:t>
        <a:bodyPr/>
        <a:lstStyle/>
        <a:p>
          <a:endParaRPr lang="en-US"/>
        </a:p>
      </dgm:t>
    </dgm:pt>
    <dgm:pt modelId="{D40C36FF-B4B4-4831-98C4-E23375BF9E1C}" type="sibTrans" cxnId="{BDDC38B5-2882-4FDE-8774-AD039159C52F}">
      <dgm:prSet/>
      <dgm:spPr/>
      <dgm:t>
        <a:bodyPr/>
        <a:lstStyle/>
        <a:p>
          <a:endParaRPr lang="en-US"/>
        </a:p>
      </dgm:t>
    </dgm:pt>
    <dgm:pt modelId="{DE7F76DC-6A72-4FA7-9F2E-A73DC80CBB0B}">
      <dgm:prSet/>
      <dgm:spPr/>
      <dgm:t>
        <a:bodyPr/>
        <a:lstStyle/>
        <a:p>
          <a:r>
            <a:rPr lang="en-US" dirty="0"/>
            <a:t>Bigrams/trigrams</a:t>
          </a:r>
        </a:p>
      </dgm:t>
    </dgm:pt>
    <dgm:pt modelId="{13EF3361-E664-4BFD-BE16-A4CF6B457C92}" type="parTrans" cxnId="{1887DD5C-7D21-41BB-AEF2-48530F8131D0}">
      <dgm:prSet/>
      <dgm:spPr/>
      <dgm:t>
        <a:bodyPr/>
        <a:lstStyle/>
        <a:p>
          <a:endParaRPr lang="en-US"/>
        </a:p>
      </dgm:t>
    </dgm:pt>
    <dgm:pt modelId="{0A9CF2E4-8B39-4C35-9EAA-7441B55E7F82}" type="sibTrans" cxnId="{1887DD5C-7D21-41BB-AEF2-48530F8131D0}">
      <dgm:prSet/>
      <dgm:spPr/>
      <dgm:t>
        <a:bodyPr/>
        <a:lstStyle/>
        <a:p>
          <a:endParaRPr lang="en-US"/>
        </a:p>
      </dgm:t>
    </dgm:pt>
    <dgm:pt modelId="{F20A32C1-3C97-4A55-9F29-87C49B2E72A5}">
      <dgm:prSet/>
      <dgm:spPr/>
      <dgm:t>
        <a:bodyPr/>
        <a:lstStyle/>
        <a:p>
          <a:r>
            <a:rPr lang="en-US" dirty="0"/>
            <a:t>Remove stop-words</a:t>
          </a:r>
        </a:p>
      </dgm:t>
    </dgm:pt>
    <dgm:pt modelId="{AA4BAB03-48D3-4F92-9DEF-518BA41A5BBB}" type="parTrans" cxnId="{5A81ADB5-13CE-44B9-A423-0D67092DB382}">
      <dgm:prSet/>
      <dgm:spPr/>
      <dgm:t>
        <a:bodyPr/>
        <a:lstStyle/>
        <a:p>
          <a:endParaRPr lang="en-US"/>
        </a:p>
      </dgm:t>
    </dgm:pt>
    <dgm:pt modelId="{3876E2CB-B19F-4B26-B7D9-20CFE2E7AF75}" type="sibTrans" cxnId="{5A81ADB5-13CE-44B9-A423-0D67092DB382}">
      <dgm:prSet/>
      <dgm:spPr/>
      <dgm:t>
        <a:bodyPr/>
        <a:lstStyle/>
        <a:p>
          <a:endParaRPr lang="en-US"/>
        </a:p>
      </dgm:t>
    </dgm:pt>
    <dgm:pt modelId="{CFC838EF-B646-402D-B9C6-A72C669E91EE}">
      <dgm:prSet/>
      <dgm:spPr/>
      <dgm:t>
        <a:bodyPr/>
        <a:lstStyle/>
        <a:p>
          <a:r>
            <a:rPr lang="en-US" dirty="0"/>
            <a:t>Lemmatize</a:t>
          </a:r>
        </a:p>
      </dgm:t>
    </dgm:pt>
    <dgm:pt modelId="{D7DDE4F5-4B4D-4CBB-80AD-0E25E59EE565}" type="parTrans" cxnId="{7FE7BB18-4369-4F37-8B00-A34BD52B0263}">
      <dgm:prSet/>
      <dgm:spPr/>
      <dgm:t>
        <a:bodyPr/>
        <a:lstStyle/>
        <a:p>
          <a:endParaRPr lang="en-US"/>
        </a:p>
      </dgm:t>
    </dgm:pt>
    <dgm:pt modelId="{35B3AE42-B6CB-4461-AB24-94F8600AC9F5}" type="sibTrans" cxnId="{7FE7BB18-4369-4F37-8B00-A34BD52B0263}">
      <dgm:prSet/>
      <dgm:spPr/>
      <dgm:t>
        <a:bodyPr/>
        <a:lstStyle/>
        <a:p>
          <a:endParaRPr lang="en-US"/>
        </a:p>
      </dgm:t>
    </dgm:pt>
    <dgm:pt modelId="{05ADF424-16B8-4170-AEB9-9F4B9510185E}">
      <dgm:prSet/>
      <dgm:spPr/>
      <dgm:t>
        <a:bodyPr/>
        <a:lstStyle/>
        <a:p>
          <a:r>
            <a:rPr lang="en-US" dirty="0"/>
            <a:t>Create the dictionary and term document frequency</a:t>
          </a:r>
        </a:p>
      </dgm:t>
    </dgm:pt>
    <dgm:pt modelId="{00CFC4C8-F695-45BF-B8BB-711EA79AB1AC}" type="parTrans" cxnId="{C89F6721-6ED9-4124-8E49-133A74739465}">
      <dgm:prSet/>
      <dgm:spPr/>
      <dgm:t>
        <a:bodyPr/>
        <a:lstStyle/>
        <a:p>
          <a:endParaRPr lang="en-US"/>
        </a:p>
      </dgm:t>
    </dgm:pt>
    <dgm:pt modelId="{95F52946-B44F-43F5-8CC2-E1B29A791838}" type="sibTrans" cxnId="{C89F6721-6ED9-4124-8E49-133A74739465}">
      <dgm:prSet/>
      <dgm:spPr/>
      <dgm:t>
        <a:bodyPr/>
        <a:lstStyle/>
        <a:p>
          <a:endParaRPr lang="en-US"/>
        </a:p>
      </dgm:t>
    </dgm:pt>
    <dgm:pt modelId="{02F3ED86-20C0-46EF-BA2B-44CB6BD6584D}">
      <dgm:prSet/>
      <dgm:spPr/>
      <dgm:t>
        <a:bodyPr/>
        <a:lstStyle/>
        <a:p>
          <a:r>
            <a:rPr lang="en-US" dirty="0"/>
            <a:t>Iterate over a range of number of topics</a:t>
          </a:r>
        </a:p>
      </dgm:t>
    </dgm:pt>
    <dgm:pt modelId="{B6DCACD9-DAE1-495A-96D1-25F8FA736DCA}" type="parTrans" cxnId="{C8B55F36-70A2-4289-B68A-E45916D01501}">
      <dgm:prSet/>
      <dgm:spPr/>
      <dgm:t>
        <a:bodyPr/>
        <a:lstStyle/>
        <a:p>
          <a:endParaRPr lang="en-US"/>
        </a:p>
      </dgm:t>
    </dgm:pt>
    <dgm:pt modelId="{3D44ABDC-7781-4309-A9C3-26EA0E8A50FE}" type="sibTrans" cxnId="{C8B55F36-70A2-4289-B68A-E45916D01501}">
      <dgm:prSet/>
      <dgm:spPr/>
      <dgm:t>
        <a:bodyPr/>
        <a:lstStyle/>
        <a:p>
          <a:endParaRPr lang="en-US"/>
        </a:p>
      </dgm:t>
    </dgm:pt>
    <dgm:pt modelId="{447FA85C-816D-4F66-8BDE-D419AE995929}">
      <dgm:prSet/>
      <dgm:spPr/>
      <dgm:t>
        <a:bodyPr/>
        <a:lstStyle/>
        <a:p>
          <a:r>
            <a:rPr lang="en-US" dirty="0"/>
            <a:t>Tweak hyperparameters</a:t>
          </a:r>
        </a:p>
      </dgm:t>
    </dgm:pt>
    <dgm:pt modelId="{0CCA17A1-2C35-489B-BA7C-F7EB38E2089D}" type="parTrans" cxnId="{309E79F3-135D-4C4B-BF69-4B4599193A4A}">
      <dgm:prSet/>
      <dgm:spPr/>
      <dgm:t>
        <a:bodyPr/>
        <a:lstStyle/>
        <a:p>
          <a:endParaRPr lang="en-US"/>
        </a:p>
      </dgm:t>
    </dgm:pt>
    <dgm:pt modelId="{BFA119A5-B1E3-462F-AEE5-E05C8A7FBA0D}" type="sibTrans" cxnId="{309E79F3-135D-4C4B-BF69-4B4599193A4A}">
      <dgm:prSet/>
      <dgm:spPr/>
      <dgm:t>
        <a:bodyPr/>
        <a:lstStyle/>
        <a:p>
          <a:endParaRPr lang="en-US"/>
        </a:p>
      </dgm:t>
    </dgm:pt>
    <dgm:pt modelId="{9B4B4ADC-0056-4F69-86F8-6786D0E04517}">
      <dgm:prSet/>
      <dgm:spPr/>
      <dgm:t>
        <a:bodyPr/>
        <a:lstStyle/>
        <a:p>
          <a:r>
            <a:rPr lang="en-US" dirty="0"/>
            <a:t>Visualize the topics</a:t>
          </a:r>
        </a:p>
      </dgm:t>
    </dgm:pt>
    <dgm:pt modelId="{EF8F3BE0-EF6A-41F3-87E5-74A3CF7F033F}" type="parTrans" cxnId="{CDCC147F-9331-4017-8447-9968A5D60A30}">
      <dgm:prSet/>
      <dgm:spPr/>
      <dgm:t>
        <a:bodyPr/>
        <a:lstStyle/>
        <a:p>
          <a:endParaRPr lang="en-US"/>
        </a:p>
      </dgm:t>
    </dgm:pt>
    <dgm:pt modelId="{61CE6186-9270-4524-A2A7-A07A78CD256F}" type="sibTrans" cxnId="{CDCC147F-9331-4017-8447-9968A5D60A30}">
      <dgm:prSet/>
      <dgm:spPr/>
      <dgm:t>
        <a:bodyPr/>
        <a:lstStyle/>
        <a:p>
          <a:endParaRPr lang="en-US"/>
        </a:p>
      </dgm:t>
    </dgm:pt>
    <dgm:pt modelId="{C789AFB1-E821-4CA4-B7E3-6F33DC60B2B3}">
      <dgm:prSet/>
      <dgm:spPr/>
      <dgm:t>
        <a:bodyPr/>
        <a:lstStyle/>
        <a:p>
          <a:r>
            <a:rPr lang="en-US" dirty="0"/>
            <a:t>Obtain coherence scores to pick optimal number of topics model</a:t>
          </a:r>
        </a:p>
      </dgm:t>
    </dgm:pt>
    <dgm:pt modelId="{C4DF9BC5-FF6B-4907-9D42-25D1AC5D3DD7}" type="parTrans" cxnId="{5FB53876-3960-45DF-8C81-9BA77365AFCA}">
      <dgm:prSet/>
      <dgm:spPr/>
      <dgm:t>
        <a:bodyPr/>
        <a:lstStyle/>
        <a:p>
          <a:endParaRPr lang="en-US"/>
        </a:p>
      </dgm:t>
    </dgm:pt>
    <dgm:pt modelId="{9C33D702-4936-47ED-96C1-FC248FF18164}" type="sibTrans" cxnId="{5FB53876-3960-45DF-8C81-9BA77365AFCA}">
      <dgm:prSet/>
      <dgm:spPr/>
      <dgm:t>
        <a:bodyPr/>
        <a:lstStyle/>
        <a:p>
          <a:endParaRPr lang="en-US"/>
        </a:p>
      </dgm:t>
    </dgm:pt>
    <dgm:pt modelId="{D2483485-43D0-456F-A0A6-6E68D4ED7799}">
      <dgm:prSet/>
      <dgm:spPr/>
      <dgm:t>
        <a:bodyPr/>
        <a:lstStyle/>
        <a:p>
          <a:r>
            <a:rPr lang="en-US" dirty="0"/>
            <a:t>Eye-ball most representative documents to ascertain topics </a:t>
          </a:r>
        </a:p>
      </dgm:t>
    </dgm:pt>
    <dgm:pt modelId="{774D7436-3D91-43A1-900A-D7C688CC8479}" type="parTrans" cxnId="{7874BA7B-E4B8-4EE9-97E9-CA3F909F23E9}">
      <dgm:prSet/>
      <dgm:spPr/>
      <dgm:t>
        <a:bodyPr/>
        <a:lstStyle/>
        <a:p>
          <a:endParaRPr lang="en-US"/>
        </a:p>
      </dgm:t>
    </dgm:pt>
    <dgm:pt modelId="{D419A3B8-0FC3-4D96-A9C3-B611428ECEAA}" type="sibTrans" cxnId="{7874BA7B-E4B8-4EE9-97E9-CA3F909F23E9}">
      <dgm:prSet/>
      <dgm:spPr/>
      <dgm:t>
        <a:bodyPr/>
        <a:lstStyle/>
        <a:p>
          <a:endParaRPr lang="en-US"/>
        </a:p>
      </dgm:t>
    </dgm:pt>
    <dgm:pt modelId="{37AA84DF-815C-42EE-B0E0-765ABFBEE628}" type="pres">
      <dgm:prSet presAssocID="{FAEE237C-CDD8-452D-85B5-16BF90175C9C}" presName="Name0" presStyleCnt="0">
        <dgm:presLayoutVars>
          <dgm:dir/>
          <dgm:resizeHandles val="exact"/>
        </dgm:presLayoutVars>
      </dgm:prSet>
      <dgm:spPr/>
    </dgm:pt>
    <dgm:pt modelId="{8414E456-0E20-4303-B1FB-492158CEEFB7}" type="pres">
      <dgm:prSet presAssocID="{7DC0C791-58C5-4ADB-9B48-E230F332EBFE}" presName="node" presStyleLbl="node1" presStyleIdx="0" presStyleCnt="5">
        <dgm:presLayoutVars>
          <dgm:bulletEnabled val="1"/>
        </dgm:presLayoutVars>
      </dgm:prSet>
      <dgm:spPr/>
    </dgm:pt>
    <dgm:pt modelId="{72F575C0-AC42-4F3A-AA55-DA22CAFE02A4}" type="pres">
      <dgm:prSet presAssocID="{66F12253-2B60-4DF3-B3E1-DA8655A38F50}" presName="sibTrans" presStyleLbl="sibTrans2D1" presStyleIdx="0" presStyleCnt="4"/>
      <dgm:spPr/>
    </dgm:pt>
    <dgm:pt modelId="{2412193E-B398-4BA3-ACD6-36EB7EF003C8}" type="pres">
      <dgm:prSet presAssocID="{66F12253-2B60-4DF3-B3E1-DA8655A38F50}" presName="connectorText" presStyleLbl="sibTrans2D1" presStyleIdx="0" presStyleCnt="4"/>
      <dgm:spPr/>
    </dgm:pt>
    <dgm:pt modelId="{B06A83A1-90C6-4BA8-8314-2B2FAB2B9D24}" type="pres">
      <dgm:prSet presAssocID="{BA4E47E7-B4F8-4033-A090-B716FBC7A1A7}" presName="node" presStyleLbl="node1" presStyleIdx="1" presStyleCnt="5">
        <dgm:presLayoutVars>
          <dgm:bulletEnabled val="1"/>
        </dgm:presLayoutVars>
      </dgm:prSet>
      <dgm:spPr/>
    </dgm:pt>
    <dgm:pt modelId="{4FAA1356-DB32-4997-9082-3D070E87E158}" type="pres">
      <dgm:prSet presAssocID="{2B771C12-150D-419D-9592-4E49B3FBF095}" presName="sibTrans" presStyleLbl="sibTrans2D1" presStyleIdx="1" presStyleCnt="4"/>
      <dgm:spPr/>
    </dgm:pt>
    <dgm:pt modelId="{FB4E7574-6866-4B09-A38B-8C74ECD2DBEF}" type="pres">
      <dgm:prSet presAssocID="{2B771C12-150D-419D-9592-4E49B3FBF095}" presName="connectorText" presStyleLbl="sibTrans2D1" presStyleIdx="1" presStyleCnt="4"/>
      <dgm:spPr/>
    </dgm:pt>
    <dgm:pt modelId="{3B9DCB44-E27B-436B-ABA2-4690B6BE08FF}" type="pres">
      <dgm:prSet presAssocID="{A5D8048C-2D22-4720-916D-C7DA3DBDDEF6}" presName="node" presStyleLbl="node1" presStyleIdx="2" presStyleCnt="5">
        <dgm:presLayoutVars>
          <dgm:bulletEnabled val="1"/>
        </dgm:presLayoutVars>
      </dgm:prSet>
      <dgm:spPr/>
    </dgm:pt>
    <dgm:pt modelId="{78EFB194-EB05-4220-96B1-487AD0E92ED5}" type="pres">
      <dgm:prSet presAssocID="{AC6AFEBB-FAD6-422A-AEDD-F379F391F6F1}" presName="sibTrans" presStyleLbl="sibTrans2D1" presStyleIdx="2" presStyleCnt="4"/>
      <dgm:spPr/>
    </dgm:pt>
    <dgm:pt modelId="{1F1D5645-CA46-4B2E-86F1-93A9749C7580}" type="pres">
      <dgm:prSet presAssocID="{AC6AFEBB-FAD6-422A-AEDD-F379F391F6F1}" presName="connectorText" presStyleLbl="sibTrans2D1" presStyleIdx="2" presStyleCnt="4"/>
      <dgm:spPr/>
    </dgm:pt>
    <dgm:pt modelId="{098D737B-D1D9-4749-BB2B-1D50776DB5EC}" type="pres">
      <dgm:prSet presAssocID="{19E86810-E8D7-447F-BE83-583D92E2E3D3}" presName="node" presStyleLbl="node1" presStyleIdx="3" presStyleCnt="5">
        <dgm:presLayoutVars>
          <dgm:bulletEnabled val="1"/>
        </dgm:presLayoutVars>
      </dgm:prSet>
      <dgm:spPr/>
    </dgm:pt>
    <dgm:pt modelId="{F5330904-8BBE-4AA9-A693-AE300FB4082C}" type="pres">
      <dgm:prSet presAssocID="{FDBBC9A8-7109-4FE8-9648-752D88B4ABBF}" presName="sibTrans" presStyleLbl="sibTrans2D1" presStyleIdx="3" presStyleCnt="4"/>
      <dgm:spPr/>
    </dgm:pt>
    <dgm:pt modelId="{20701DA9-1044-4790-A12B-236DFB3DFDD1}" type="pres">
      <dgm:prSet presAssocID="{FDBBC9A8-7109-4FE8-9648-752D88B4ABBF}" presName="connectorText" presStyleLbl="sibTrans2D1" presStyleIdx="3" presStyleCnt="4"/>
      <dgm:spPr/>
    </dgm:pt>
    <dgm:pt modelId="{63F989C1-C775-4B67-8E56-371940BFBCBC}" type="pres">
      <dgm:prSet presAssocID="{F6E94D59-0FF9-4D56-A95E-1C921C3FB338}" presName="node" presStyleLbl="node1" presStyleIdx="4" presStyleCnt="5">
        <dgm:presLayoutVars>
          <dgm:bulletEnabled val="1"/>
        </dgm:presLayoutVars>
      </dgm:prSet>
      <dgm:spPr/>
    </dgm:pt>
  </dgm:ptLst>
  <dgm:cxnLst>
    <dgm:cxn modelId="{488CC205-2DCB-4D32-B52B-557D8716DFF7}" srcId="{FAEE237C-CDD8-452D-85B5-16BF90175C9C}" destId="{7DC0C791-58C5-4ADB-9B48-E230F332EBFE}" srcOrd="0" destOrd="0" parTransId="{4CE4C148-8EA2-4CD1-AB58-2B62EEC8AB5D}" sibTransId="{66F12253-2B60-4DF3-B3E1-DA8655A38F50}"/>
    <dgm:cxn modelId="{D1408606-FF68-4F19-ACAA-41A22DC3CB04}" type="presOf" srcId="{AC6AFEBB-FAD6-422A-AEDD-F379F391F6F1}" destId="{1F1D5645-CA46-4B2E-86F1-93A9749C7580}" srcOrd="1" destOrd="0" presId="urn:microsoft.com/office/officeart/2005/8/layout/process1"/>
    <dgm:cxn modelId="{B4C3A307-989F-47B2-B763-BD208461657F}" type="presOf" srcId="{E680DF4F-3527-44C6-8F09-BABC9FBE8DAB}" destId="{8414E456-0E20-4303-B1FB-492158CEEFB7}" srcOrd="0" destOrd="1" presId="urn:microsoft.com/office/officeart/2005/8/layout/process1"/>
    <dgm:cxn modelId="{C62ABA0E-DDE3-4D45-9FEB-8758785A5A22}" type="presOf" srcId="{D2483485-43D0-456F-A0A6-6E68D4ED7799}" destId="{63F989C1-C775-4B67-8E56-371940BFBCBC}" srcOrd="0" destOrd="1" presId="urn:microsoft.com/office/officeart/2005/8/layout/process1"/>
    <dgm:cxn modelId="{3F35F511-BDB9-4CAA-B0E6-7DB52356F364}" type="presOf" srcId="{7DC0C791-58C5-4ADB-9B48-E230F332EBFE}" destId="{8414E456-0E20-4303-B1FB-492158CEEFB7}" srcOrd="0" destOrd="0" presId="urn:microsoft.com/office/officeart/2005/8/layout/process1"/>
    <dgm:cxn modelId="{77360F13-96B1-4AFD-90A5-699AC8C7C3D7}" type="presOf" srcId="{19E86810-E8D7-447F-BE83-583D92E2E3D3}" destId="{098D737B-D1D9-4749-BB2B-1D50776DB5EC}" srcOrd="0" destOrd="0" presId="urn:microsoft.com/office/officeart/2005/8/layout/process1"/>
    <dgm:cxn modelId="{7FE7BB18-4369-4F37-8B00-A34BD52B0263}" srcId="{A5D8048C-2D22-4720-916D-C7DA3DBDDEF6}" destId="{CFC838EF-B646-402D-B9C6-A72C669E91EE}" srcOrd="4" destOrd="0" parTransId="{D7DDE4F5-4B4D-4CBB-80AD-0E25E59EE565}" sibTransId="{35B3AE42-B6CB-4461-AB24-94F8600AC9F5}"/>
    <dgm:cxn modelId="{A666791C-ABB3-4CD5-8F16-A25BA292BB58}" srcId="{FAEE237C-CDD8-452D-85B5-16BF90175C9C}" destId="{A5D8048C-2D22-4720-916D-C7DA3DBDDEF6}" srcOrd="2" destOrd="0" parTransId="{94CB64CC-1FEF-438A-8DBF-420489C36C99}" sibTransId="{AC6AFEBB-FAD6-422A-AEDD-F379F391F6F1}"/>
    <dgm:cxn modelId="{E4D0E91C-F543-4AE8-A668-8524EEEF01B7}" type="presOf" srcId="{66F12253-2B60-4DF3-B3E1-DA8655A38F50}" destId="{72F575C0-AC42-4F3A-AA55-DA22CAFE02A4}" srcOrd="0" destOrd="0" presId="urn:microsoft.com/office/officeart/2005/8/layout/process1"/>
    <dgm:cxn modelId="{9500721F-6538-4C95-9061-B7B0A4F96D43}" type="presOf" srcId="{0B8538E6-B1F0-414F-8E23-DC6B2CAB57A0}" destId="{3B9DCB44-E27B-436B-ABA2-4690B6BE08FF}" srcOrd="0" destOrd="1" presId="urn:microsoft.com/office/officeart/2005/8/layout/process1"/>
    <dgm:cxn modelId="{DD2CD920-35BE-4A7F-BB0E-594D9369A40F}" type="presOf" srcId="{A5D8048C-2D22-4720-916D-C7DA3DBDDEF6}" destId="{3B9DCB44-E27B-436B-ABA2-4690B6BE08FF}" srcOrd="0" destOrd="0" presId="urn:microsoft.com/office/officeart/2005/8/layout/process1"/>
    <dgm:cxn modelId="{C89F6721-6ED9-4124-8E49-133A74739465}" srcId="{A5D8048C-2D22-4720-916D-C7DA3DBDDEF6}" destId="{05ADF424-16B8-4170-AEB9-9F4B9510185E}" srcOrd="5" destOrd="0" parTransId="{00CFC4C8-F695-45BF-B8BB-711EA79AB1AC}" sibTransId="{95F52946-B44F-43F5-8CC2-E1B29A791838}"/>
    <dgm:cxn modelId="{9979A621-4AA2-44CF-96FC-39D222D5B201}" srcId="{7DC0C791-58C5-4ADB-9B48-E230F332EBFE}" destId="{DA9B208C-7B98-436F-A824-AE92645D3791}" srcOrd="1" destOrd="0" parTransId="{1FA37288-146D-48DD-8393-86B42C63B313}" sibTransId="{1E683A14-3A42-4A3B-910A-CB235BD4B0CA}"/>
    <dgm:cxn modelId="{0934B026-616D-4054-AED0-98A47C805B49}" srcId="{A5D8048C-2D22-4720-916D-C7DA3DBDDEF6}" destId="{0B8538E6-B1F0-414F-8E23-DC6B2CAB57A0}" srcOrd="0" destOrd="0" parTransId="{D06EEDCC-56D2-44AE-B5AA-1439514F1716}" sibTransId="{E667E51E-78B7-4237-A967-F0B4E98A295B}"/>
    <dgm:cxn modelId="{A5B5DD26-4FC1-477C-82C9-DEB57E42220A}" type="presOf" srcId="{2B771C12-150D-419D-9592-4E49B3FBF095}" destId="{FB4E7574-6866-4B09-A38B-8C74ECD2DBEF}" srcOrd="1" destOrd="0" presId="urn:microsoft.com/office/officeart/2005/8/layout/process1"/>
    <dgm:cxn modelId="{89781628-30A7-4B62-B747-D2BA81848400}" type="presOf" srcId="{CFC838EF-B646-402D-B9C6-A72C669E91EE}" destId="{3B9DCB44-E27B-436B-ABA2-4690B6BE08FF}" srcOrd="0" destOrd="5" presId="urn:microsoft.com/office/officeart/2005/8/layout/process1"/>
    <dgm:cxn modelId="{FDFA8F2B-4458-445E-992C-15F6FF284F51}" type="presOf" srcId="{02F3ED86-20C0-46EF-BA2B-44CB6BD6584D}" destId="{098D737B-D1D9-4749-BB2B-1D50776DB5EC}" srcOrd="0" destOrd="1" presId="urn:microsoft.com/office/officeart/2005/8/layout/process1"/>
    <dgm:cxn modelId="{387D7F2C-3FF3-40D5-914E-4E4828F94A76}" srcId="{7DC0C791-58C5-4ADB-9B48-E230F332EBFE}" destId="{E680DF4F-3527-44C6-8F09-BABC9FBE8DAB}" srcOrd="0" destOrd="0" parTransId="{39BF1689-ACEB-47A8-A2D9-E49FB5C9806E}" sibTransId="{DA610275-52D9-4FBB-B734-F3269B7BECDF}"/>
    <dgm:cxn modelId="{7790A92C-4702-4462-86FE-D6C643CF8982}" srcId="{FAEE237C-CDD8-452D-85B5-16BF90175C9C}" destId="{F6E94D59-0FF9-4D56-A95E-1C921C3FB338}" srcOrd="4" destOrd="0" parTransId="{B9069A7E-4007-4A8E-A0F2-49115C635B58}" sibTransId="{D315BC03-9660-4664-8AE5-716A648A1848}"/>
    <dgm:cxn modelId="{C8B55F36-70A2-4289-B68A-E45916D01501}" srcId="{19E86810-E8D7-447F-BE83-583D92E2E3D3}" destId="{02F3ED86-20C0-46EF-BA2B-44CB6BD6584D}" srcOrd="0" destOrd="0" parTransId="{B6DCACD9-DAE1-495A-96D1-25F8FA736DCA}" sibTransId="{3D44ABDC-7781-4309-A9C3-26EA0E8A50FE}"/>
    <dgm:cxn modelId="{CEDF4841-A41C-464E-8C55-180E155C1B25}" type="presOf" srcId="{FDBBC9A8-7109-4FE8-9648-752D88B4ABBF}" destId="{20701DA9-1044-4790-A12B-236DFB3DFDD1}" srcOrd="1" destOrd="0" presId="urn:microsoft.com/office/officeart/2005/8/layout/process1"/>
    <dgm:cxn modelId="{43037E4A-EF26-46DF-9AF1-629F494A6C9E}" type="presOf" srcId="{F20A32C1-3C97-4A55-9F29-87C49B2E72A5}" destId="{3B9DCB44-E27B-436B-ABA2-4690B6BE08FF}" srcOrd="0" destOrd="4" presId="urn:microsoft.com/office/officeart/2005/8/layout/process1"/>
    <dgm:cxn modelId="{8363E04D-0813-4CC1-9E4A-4362E1B18CA2}" type="presOf" srcId="{FAEE237C-CDD8-452D-85B5-16BF90175C9C}" destId="{37AA84DF-815C-42EE-B0E0-765ABFBEE628}" srcOrd="0" destOrd="0" presId="urn:microsoft.com/office/officeart/2005/8/layout/process1"/>
    <dgm:cxn modelId="{1887DD5C-7D21-41BB-AEF2-48530F8131D0}" srcId="{A5D8048C-2D22-4720-916D-C7DA3DBDDEF6}" destId="{DE7F76DC-6A72-4FA7-9F2E-A73DC80CBB0B}" srcOrd="2" destOrd="0" parTransId="{13EF3361-E664-4BFD-BE16-A4CF6B457C92}" sibTransId="{0A9CF2E4-8B39-4C35-9EAA-7441B55E7F82}"/>
    <dgm:cxn modelId="{66894561-80BE-4A5D-A947-4C10F4EF7CF2}" type="presOf" srcId="{AC6AFEBB-FAD6-422A-AEDD-F379F391F6F1}" destId="{78EFB194-EB05-4220-96B1-487AD0E92ED5}" srcOrd="0" destOrd="0" presId="urn:microsoft.com/office/officeart/2005/8/layout/process1"/>
    <dgm:cxn modelId="{30EAB564-6FB1-42BF-8645-4A7CB086C691}" type="presOf" srcId="{6AE7600B-BAF0-4775-A08A-74C013B7BE72}" destId="{8414E456-0E20-4303-B1FB-492158CEEFB7}" srcOrd="0" destOrd="4" presId="urn:microsoft.com/office/officeart/2005/8/layout/process1"/>
    <dgm:cxn modelId="{7899E668-1048-40FD-8A23-C0BCA2B86B4E}" type="presOf" srcId="{05ADF424-16B8-4170-AEB9-9F4B9510185E}" destId="{3B9DCB44-E27B-436B-ABA2-4690B6BE08FF}" srcOrd="0" destOrd="6" presId="urn:microsoft.com/office/officeart/2005/8/layout/process1"/>
    <dgm:cxn modelId="{A4963C72-8A66-448D-96F9-6E106749DF1D}" srcId="{7DC0C791-58C5-4ADB-9B48-E230F332EBFE}" destId="{853105DD-DAC7-4E92-9340-3C2537BE8691}" srcOrd="4" destOrd="0" parTransId="{08B9461A-AA5A-49C5-8304-95A06F0EE526}" sibTransId="{93DA165E-6D6E-4442-863B-1E362B0F9C66}"/>
    <dgm:cxn modelId="{5FB53876-3960-45DF-8C81-9BA77365AFCA}" srcId="{19E86810-E8D7-447F-BE83-583D92E2E3D3}" destId="{C789AFB1-E821-4CA4-B7E3-6F33DC60B2B3}" srcOrd="1" destOrd="0" parTransId="{C4DF9BC5-FF6B-4907-9D42-25D1AC5D3DD7}" sibTransId="{9C33D702-4936-47ED-96C1-FC248FF18164}"/>
    <dgm:cxn modelId="{7874BA7B-E4B8-4EE9-97E9-CA3F909F23E9}" srcId="{F6E94D59-0FF9-4D56-A95E-1C921C3FB338}" destId="{D2483485-43D0-456F-A0A6-6E68D4ED7799}" srcOrd="0" destOrd="0" parTransId="{774D7436-3D91-43A1-900A-D7C688CC8479}" sibTransId="{D419A3B8-0FC3-4D96-A9C3-B611428ECEAA}"/>
    <dgm:cxn modelId="{CDCC147F-9331-4017-8447-9968A5D60A30}" srcId="{19E86810-E8D7-447F-BE83-583D92E2E3D3}" destId="{9B4B4ADC-0056-4F69-86F8-6786D0E04517}" srcOrd="3" destOrd="0" parTransId="{EF8F3BE0-EF6A-41F3-87E5-74A3CF7F033F}" sibTransId="{61CE6186-9270-4524-A2A7-A07A78CD256F}"/>
    <dgm:cxn modelId="{2FB93980-835E-4DA2-8C42-474545ADEEDA}" type="presOf" srcId="{DA9B208C-7B98-436F-A824-AE92645D3791}" destId="{8414E456-0E20-4303-B1FB-492158CEEFB7}" srcOrd="0" destOrd="2" presId="urn:microsoft.com/office/officeart/2005/8/layout/process1"/>
    <dgm:cxn modelId="{0E11B287-B0DF-41A3-A841-BB23532123B2}" type="presOf" srcId="{34C57FC9-E49F-4E66-A16B-FAAEFA770D09}" destId="{8414E456-0E20-4303-B1FB-492158CEEFB7}" srcOrd="0" destOrd="3" presId="urn:microsoft.com/office/officeart/2005/8/layout/process1"/>
    <dgm:cxn modelId="{0C17318F-3D07-4706-A3B9-757F0EB8CE98}" type="presOf" srcId="{853105DD-DAC7-4E92-9340-3C2537BE8691}" destId="{8414E456-0E20-4303-B1FB-492158CEEFB7}" srcOrd="0" destOrd="5" presId="urn:microsoft.com/office/officeart/2005/8/layout/process1"/>
    <dgm:cxn modelId="{145DAC9C-90DD-4067-98A0-E3E1C8C5D8D0}" type="presOf" srcId="{C789AFB1-E821-4CA4-B7E3-6F33DC60B2B3}" destId="{098D737B-D1D9-4749-BB2B-1D50776DB5EC}" srcOrd="0" destOrd="2" presId="urn:microsoft.com/office/officeart/2005/8/layout/process1"/>
    <dgm:cxn modelId="{7D3BCE9C-090E-4750-A221-08B6C6853F3E}" type="presOf" srcId="{7F91A108-9E43-43F9-A951-2D056D87A04E}" destId="{B06A83A1-90C6-4BA8-8314-2B2FAB2B9D24}" srcOrd="0" destOrd="3" presId="urn:microsoft.com/office/officeart/2005/8/layout/process1"/>
    <dgm:cxn modelId="{E2787CA4-2DFA-4A90-B48B-D312771FD33E}" type="presOf" srcId="{447FA85C-816D-4F66-8BDE-D419AE995929}" destId="{098D737B-D1D9-4749-BB2B-1D50776DB5EC}" srcOrd="0" destOrd="3" presId="urn:microsoft.com/office/officeart/2005/8/layout/process1"/>
    <dgm:cxn modelId="{C627AEA4-00AF-43DF-B5E8-6EC6D199900A}" type="presOf" srcId="{66F12253-2B60-4DF3-B3E1-DA8655A38F50}" destId="{2412193E-B398-4BA3-ACD6-36EB7EF003C8}" srcOrd="1" destOrd="0" presId="urn:microsoft.com/office/officeart/2005/8/layout/process1"/>
    <dgm:cxn modelId="{B321F7A9-1899-406E-8EF8-558CCB10D8A4}" srcId="{BA4E47E7-B4F8-4033-A090-B716FBC7A1A7}" destId="{F0E901F4-3180-4C1F-A656-D1947B3A23C5}" srcOrd="1" destOrd="0" parTransId="{6E39AA82-0297-4C72-BB74-7909F60126EF}" sibTransId="{B7D1AB93-B5C7-4CFE-A02E-2188DDF58756}"/>
    <dgm:cxn modelId="{5BC2F8AA-56D7-41A8-AC5F-157E50C948D4}" type="presOf" srcId="{DE7F76DC-6A72-4FA7-9F2E-A73DC80CBB0B}" destId="{3B9DCB44-E27B-436B-ABA2-4690B6BE08FF}" srcOrd="0" destOrd="3" presId="urn:microsoft.com/office/officeart/2005/8/layout/process1"/>
    <dgm:cxn modelId="{F6E07EAF-EDFA-4963-A736-0F12AB25A5BA}" srcId="{7DC0C791-58C5-4ADB-9B48-E230F332EBFE}" destId="{34C57FC9-E49F-4E66-A16B-FAAEFA770D09}" srcOrd="2" destOrd="0" parTransId="{A7B60341-CF80-4970-AC8E-2315ECCB7D3A}" sibTransId="{CC2C9635-7C2D-4D0E-98D5-ACC6A15EF472}"/>
    <dgm:cxn modelId="{8C69E3B0-75D4-4999-8C6C-BB9BADFB5704}" srcId="{FAEE237C-CDD8-452D-85B5-16BF90175C9C}" destId="{BA4E47E7-B4F8-4033-A090-B716FBC7A1A7}" srcOrd="1" destOrd="0" parTransId="{AD805E2A-82EC-4839-80D9-CB168B2A96B1}" sibTransId="{2B771C12-150D-419D-9592-4E49B3FBF095}"/>
    <dgm:cxn modelId="{BDDC38B5-2882-4FDE-8774-AD039159C52F}" srcId="{A5D8048C-2D22-4720-916D-C7DA3DBDDEF6}" destId="{835B126C-F729-4B47-9F4D-1EA2BD3742C2}" srcOrd="1" destOrd="0" parTransId="{D623AF95-D1EB-4342-A7B0-E125F04971EB}" sibTransId="{D40C36FF-B4B4-4831-98C4-E23375BF9E1C}"/>
    <dgm:cxn modelId="{5A81ADB5-13CE-44B9-A423-0D67092DB382}" srcId="{A5D8048C-2D22-4720-916D-C7DA3DBDDEF6}" destId="{F20A32C1-3C97-4A55-9F29-87C49B2E72A5}" srcOrd="3" destOrd="0" parTransId="{AA4BAB03-48D3-4F92-9DEF-518BA41A5BBB}" sibTransId="{3876E2CB-B19F-4B26-B7D9-20CFE2E7AF75}"/>
    <dgm:cxn modelId="{1110B4B8-78F5-44F2-9679-3FB124C3DF96}" type="presOf" srcId="{F0E901F4-3180-4C1F-A656-D1947B3A23C5}" destId="{B06A83A1-90C6-4BA8-8314-2B2FAB2B9D24}" srcOrd="0" destOrd="2" presId="urn:microsoft.com/office/officeart/2005/8/layout/process1"/>
    <dgm:cxn modelId="{880BE0BA-F0E9-4F66-B733-CC7928622A21}" type="presOf" srcId="{F6E94D59-0FF9-4D56-A95E-1C921C3FB338}" destId="{63F989C1-C775-4B67-8E56-371940BFBCBC}" srcOrd="0" destOrd="0" presId="urn:microsoft.com/office/officeart/2005/8/layout/process1"/>
    <dgm:cxn modelId="{D372FFBF-E559-4DFE-B88C-4E67CDE8B2D1}" srcId="{FAEE237C-CDD8-452D-85B5-16BF90175C9C}" destId="{19E86810-E8D7-447F-BE83-583D92E2E3D3}" srcOrd="3" destOrd="0" parTransId="{4BAA8C26-A68A-45DE-ADDC-45E511756094}" sibTransId="{FDBBC9A8-7109-4FE8-9648-752D88B4ABBF}"/>
    <dgm:cxn modelId="{C1BB72C0-3C53-4800-B584-B203D0701688}" type="presOf" srcId="{835B126C-F729-4B47-9F4D-1EA2BD3742C2}" destId="{3B9DCB44-E27B-436B-ABA2-4690B6BE08FF}" srcOrd="0" destOrd="2" presId="urn:microsoft.com/office/officeart/2005/8/layout/process1"/>
    <dgm:cxn modelId="{4435ACC0-A551-415A-A6DB-1E6EC33B775C}" type="presOf" srcId="{FDBBC9A8-7109-4FE8-9648-752D88B4ABBF}" destId="{F5330904-8BBE-4AA9-A693-AE300FB4082C}" srcOrd="0" destOrd="0" presId="urn:microsoft.com/office/officeart/2005/8/layout/process1"/>
    <dgm:cxn modelId="{2E1E49CD-C5F2-4191-8D78-C080CFFFA133}" type="presOf" srcId="{FEE969A2-1BE2-475B-AE55-E133B3E441EA}" destId="{B06A83A1-90C6-4BA8-8314-2B2FAB2B9D24}" srcOrd="0" destOrd="1" presId="urn:microsoft.com/office/officeart/2005/8/layout/process1"/>
    <dgm:cxn modelId="{1EA80CD9-EE58-4634-9C23-7D6FA5948060}" type="presOf" srcId="{2B771C12-150D-419D-9592-4E49B3FBF095}" destId="{4FAA1356-DB32-4997-9082-3D070E87E158}" srcOrd="0" destOrd="0" presId="urn:microsoft.com/office/officeart/2005/8/layout/process1"/>
    <dgm:cxn modelId="{CF8DA2E4-B090-4573-9B93-CE06502E982E}" srcId="{7DC0C791-58C5-4ADB-9B48-E230F332EBFE}" destId="{6AE7600B-BAF0-4775-A08A-74C013B7BE72}" srcOrd="3" destOrd="0" parTransId="{62BDEE75-BF19-4AD6-BF6B-85454476983B}" sibTransId="{5CD018F3-CE23-42BE-8651-DC714E900FDC}"/>
    <dgm:cxn modelId="{2C154DE5-F4D3-41F7-8443-743827AF2439}" srcId="{BA4E47E7-B4F8-4033-A090-B716FBC7A1A7}" destId="{7F91A108-9E43-43F9-A951-2D056D87A04E}" srcOrd="2" destOrd="0" parTransId="{39991523-0339-461D-BD77-9F888DBD3CAB}" sibTransId="{C2C78289-93AB-45E2-B527-605359978723}"/>
    <dgm:cxn modelId="{309E79F3-135D-4C4B-BF69-4B4599193A4A}" srcId="{19E86810-E8D7-447F-BE83-583D92E2E3D3}" destId="{447FA85C-816D-4F66-8BDE-D419AE995929}" srcOrd="2" destOrd="0" parTransId="{0CCA17A1-2C35-489B-BA7C-F7EB38E2089D}" sibTransId="{BFA119A5-B1E3-462F-AEE5-E05C8A7FBA0D}"/>
    <dgm:cxn modelId="{37BF55F7-9A25-4126-A5E8-B405F8D99BE8}" srcId="{BA4E47E7-B4F8-4033-A090-B716FBC7A1A7}" destId="{FEE969A2-1BE2-475B-AE55-E133B3E441EA}" srcOrd="0" destOrd="0" parTransId="{444FB96C-2EC2-4B25-873B-69C6A2277285}" sibTransId="{FE62D36D-25C3-4058-A873-F4111838A155}"/>
    <dgm:cxn modelId="{54CAD0F7-8787-4768-B59D-F3FBD6A06C2D}" type="presOf" srcId="{BA4E47E7-B4F8-4033-A090-B716FBC7A1A7}" destId="{B06A83A1-90C6-4BA8-8314-2B2FAB2B9D24}" srcOrd="0" destOrd="0" presId="urn:microsoft.com/office/officeart/2005/8/layout/process1"/>
    <dgm:cxn modelId="{76472DFC-FF96-4DC6-9F1D-72FDB6DBF5F7}" type="presOf" srcId="{9B4B4ADC-0056-4F69-86F8-6786D0E04517}" destId="{098D737B-D1D9-4749-BB2B-1D50776DB5EC}" srcOrd="0" destOrd="4" presId="urn:microsoft.com/office/officeart/2005/8/layout/process1"/>
    <dgm:cxn modelId="{565736A0-8C8F-45B6-8967-8A5387EBFED0}" type="presParOf" srcId="{37AA84DF-815C-42EE-B0E0-765ABFBEE628}" destId="{8414E456-0E20-4303-B1FB-492158CEEFB7}" srcOrd="0" destOrd="0" presId="urn:microsoft.com/office/officeart/2005/8/layout/process1"/>
    <dgm:cxn modelId="{1FEFFE0C-83E5-447D-9D37-BE03345EC0AB}" type="presParOf" srcId="{37AA84DF-815C-42EE-B0E0-765ABFBEE628}" destId="{72F575C0-AC42-4F3A-AA55-DA22CAFE02A4}" srcOrd="1" destOrd="0" presId="urn:microsoft.com/office/officeart/2005/8/layout/process1"/>
    <dgm:cxn modelId="{40AC1B7A-2434-4399-8565-809E2C7FD19D}" type="presParOf" srcId="{72F575C0-AC42-4F3A-AA55-DA22CAFE02A4}" destId="{2412193E-B398-4BA3-ACD6-36EB7EF003C8}" srcOrd="0" destOrd="0" presId="urn:microsoft.com/office/officeart/2005/8/layout/process1"/>
    <dgm:cxn modelId="{1010DB0F-5643-4C21-987C-CD66E29BB75A}" type="presParOf" srcId="{37AA84DF-815C-42EE-B0E0-765ABFBEE628}" destId="{B06A83A1-90C6-4BA8-8314-2B2FAB2B9D24}" srcOrd="2" destOrd="0" presId="urn:microsoft.com/office/officeart/2005/8/layout/process1"/>
    <dgm:cxn modelId="{1AFFA9E3-83D9-424D-9477-F5AE2705E7E3}" type="presParOf" srcId="{37AA84DF-815C-42EE-B0E0-765ABFBEE628}" destId="{4FAA1356-DB32-4997-9082-3D070E87E158}" srcOrd="3" destOrd="0" presId="urn:microsoft.com/office/officeart/2005/8/layout/process1"/>
    <dgm:cxn modelId="{D79F1B39-C134-4D08-8552-C41085B12480}" type="presParOf" srcId="{4FAA1356-DB32-4997-9082-3D070E87E158}" destId="{FB4E7574-6866-4B09-A38B-8C74ECD2DBEF}" srcOrd="0" destOrd="0" presId="urn:microsoft.com/office/officeart/2005/8/layout/process1"/>
    <dgm:cxn modelId="{F80100B8-62C1-4905-8E18-94B658C35767}" type="presParOf" srcId="{37AA84DF-815C-42EE-B0E0-765ABFBEE628}" destId="{3B9DCB44-E27B-436B-ABA2-4690B6BE08FF}" srcOrd="4" destOrd="0" presId="urn:microsoft.com/office/officeart/2005/8/layout/process1"/>
    <dgm:cxn modelId="{5311A705-DEC7-489A-9A19-3F77E9188296}" type="presParOf" srcId="{37AA84DF-815C-42EE-B0E0-765ABFBEE628}" destId="{78EFB194-EB05-4220-96B1-487AD0E92ED5}" srcOrd="5" destOrd="0" presId="urn:microsoft.com/office/officeart/2005/8/layout/process1"/>
    <dgm:cxn modelId="{326A6FDF-C7FC-4D7A-BECC-A003C4148D25}" type="presParOf" srcId="{78EFB194-EB05-4220-96B1-487AD0E92ED5}" destId="{1F1D5645-CA46-4B2E-86F1-93A9749C7580}" srcOrd="0" destOrd="0" presId="urn:microsoft.com/office/officeart/2005/8/layout/process1"/>
    <dgm:cxn modelId="{E3B18B4F-4A13-449C-A858-EC0385FA1063}" type="presParOf" srcId="{37AA84DF-815C-42EE-B0E0-765ABFBEE628}" destId="{098D737B-D1D9-4749-BB2B-1D50776DB5EC}" srcOrd="6" destOrd="0" presId="urn:microsoft.com/office/officeart/2005/8/layout/process1"/>
    <dgm:cxn modelId="{23540AAE-8372-4424-8B9D-267F0C9A51E0}" type="presParOf" srcId="{37AA84DF-815C-42EE-B0E0-765ABFBEE628}" destId="{F5330904-8BBE-4AA9-A693-AE300FB4082C}" srcOrd="7" destOrd="0" presId="urn:microsoft.com/office/officeart/2005/8/layout/process1"/>
    <dgm:cxn modelId="{B6940CE2-4A35-4454-BCAC-AD908EE34B38}" type="presParOf" srcId="{F5330904-8BBE-4AA9-A693-AE300FB4082C}" destId="{20701DA9-1044-4790-A12B-236DFB3DFDD1}" srcOrd="0" destOrd="0" presId="urn:microsoft.com/office/officeart/2005/8/layout/process1"/>
    <dgm:cxn modelId="{D3D421B9-6479-4B2A-BD2C-72D48D69460D}" type="presParOf" srcId="{37AA84DF-815C-42EE-B0E0-765ABFBEE628}" destId="{63F989C1-C775-4B67-8E56-371940BFBCBC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14E456-0E20-4303-B1FB-492158CEEFB7}">
      <dsp:nvSpPr>
        <dsp:cNvPr id="0" name=""/>
        <dsp:cNvSpPr/>
      </dsp:nvSpPr>
      <dsp:spPr>
        <a:xfrm>
          <a:off x="4241" y="1821865"/>
          <a:ext cx="1314896" cy="17296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ata preparatio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Remove system messag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User command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Generic respons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Chat/Voice shortcuts or regulatory portion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Non-customer data removal</a:t>
          </a:r>
        </a:p>
      </dsp:txBody>
      <dsp:txXfrm>
        <a:off x="42753" y="1860377"/>
        <a:ext cx="1237872" cy="1652629"/>
      </dsp:txXfrm>
    </dsp:sp>
    <dsp:sp modelId="{72F575C0-AC42-4F3A-AA55-DA22CAFE02A4}">
      <dsp:nvSpPr>
        <dsp:cNvPr id="0" name=""/>
        <dsp:cNvSpPr/>
      </dsp:nvSpPr>
      <dsp:spPr>
        <a:xfrm>
          <a:off x="1450627" y="2523644"/>
          <a:ext cx="278758" cy="32609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1450627" y="2588863"/>
        <a:ext cx="195131" cy="195656"/>
      </dsp:txXfrm>
    </dsp:sp>
    <dsp:sp modelId="{B06A83A1-90C6-4BA8-8314-2B2FAB2B9D24}">
      <dsp:nvSpPr>
        <dsp:cNvPr id="0" name=""/>
        <dsp:cNvSpPr/>
      </dsp:nvSpPr>
      <dsp:spPr>
        <a:xfrm>
          <a:off x="1845096" y="1821865"/>
          <a:ext cx="1314896" cy="17296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DA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Assess different types of conversations by length, time of day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Serves as a good pre-cursor for pre-processi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Meta data analyses</a:t>
          </a:r>
        </a:p>
      </dsp:txBody>
      <dsp:txXfrm>
        <a:off x="1883608" y="1860377"/>
        <a:ext cx="1237872" cy="1652629"/>
      </dsp:txXfrm>
    </dsp:sp>
    <dsp:sp modelId="{4FAA1356-DB32-4997-9082-3D070E87E158}">
      <dsp:nvSpPr>
        <dsp:cNvPr id="0" name=""/>
        <dsp:cNvSpPr/>
      </dsp:nvSpPr>
      <dsp:spPr>
        <a:xfrm>
          <a:off x="3291482" y="2523644"/>
          <a:ext cx="278758" cy="32609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3291482" y="2588863"/>
        <a:ext cx="195131" cy="195656"/>
      </dsp:txXfrm>
    </dsp:sp>
    <dsp:sp modelId="{3B9DCB44-E27B-436B-ABA2-4690B6BE08FF}">
      <dsp:nvSpPr>
        <dsp:cNvPr id="0" name=""/>
        <dsp:cNvSpPr/>
      </dsp:nvSpPr>
      <dsp:spPr>
        <a:xfrm>
          <a:off x="3685951" y="1821865"/>
          <a:ext cx="1314896" cy="17296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ata Pre-processi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Remove new-line characters, emails etc.,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Tokenize the word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Bigrams/trigram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Remove stop-word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Lemmatize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Create the dictionary and term document frequency</a:t>
          </a:r>
        </a:p>
      </dsp:txBody>
      <dsp:txXfrm>
        <a:off x="3724463" y="1860377"/>
        <a:ext cx="1237872" cy="1652629"/>
      </dsp:txXfrm>
    </dsp:sp>
    <dsp:sp modelId="{78EFB194-EB05-4220-96B1-487AD0E92ED5}">
      <dsp:nvSpPr>
        <dsp:cNvPr id="0" name=""/>
        <dsp:cNvSpPr/>
      </dsp:nvSpPr>
      <dsp:spPr>
        <a:xfrm>
          <a:off x="5132337" y="2523644"/>
          <a:ext cx="278758" cy="32609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5132337" y="2588863"/>
        <a:ext cx="195131" cy="195656"/>
      </dsp:txXfrm>
    </dsp:sp>
    <dsp:sp modelId="{098D737B-D1D9-4749-BB2B-1D50776DB5EC}">
      <dsp:nvSpPr>
        <dsp:cNvPr id="0" name=""/>
        <dsp:cNvSpPr/>
      </dsp:nvSpPr>
      <dsp:spPr>
        <a:xfrm>
          <a:off x="5526806" y="1821865"/>
          <a:ext cx="1314896" cy="17296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odelli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Iterate over a range of number of topic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Obtain coherence scores to pick optimal number of topics model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Tweak hyperparameter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Visualize the topics</a:t>
          </a:r>
        </a:p>
      </dsp:txBody>
      <dsp:txXfrm>
        <a:off x="5565318" y="1860377"/>
        <a:ext cx="1237872" cy="1652629"/>
      </dsp:txXfrm>
    </dsp:sp>
    <dsp:sp modelId="{F5330904-8BBE-4AA9-A693-AE300FB4082C}">
      <dsp:nvSpPr>
        <dsp:cNvPr id="0" name=""/>
        <dsp:cNvSpPr/>
      </dsp:nvSpPr>
      <dsp:spPr>
        <a:xfrm>
          <a:off x="6973192" y="2523644"/>
          <a:ext cx="278758" cy="32609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6973192" y="2588863"/>
        <a:ext cx="195131" cy="195656"/>
      </dsp:txXfrm>
    </dsp:sp>
    <dsp:sp modelId="{63F989C1-C775-4B67-8E56-371940BFBCBC}">
      <dsp:nvSpPr>
        <dsp:cNvPr id="0" name=""/>
        <dsp:cNvSpPr/>
      </dsp:nvSpPr>
      <dsp:spPr>
        <a:xfrm>
          <a:off x="7367661" y="1821865"/>
          <a:ext cx="1314896" cy="17296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opics extractio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Eye-ball most representative documents to ascertain topics </a:t>
          </a:r>
        </a:p>
      </dsp:txBody>
      <dsp:txXfrm>
        <a:off x="7406173" y="1860377"/>
        <a:ext cx="1237872" cy="16526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773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5964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691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912DAA6-C83B-41A5-B133-22A2209A3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912DAA6-C83B-41A5-B133-22A2209A3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6BBE4F4-E0E7-4517-A6BE-75BC45E4A88C}"/>
              </a:ext>
            </a:extLst>
          </p:cNvPr>
          <p:cNvSpPr/>
          <p:nvPr userDrawn="1"/>
        </p:nvSpPr>
        <p:spPr>
          <a:xfrm>
            <a:off x="0" y="6553200"/>
            <a:ext cx="12192000" cy="30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" name="Picture 2" descr="http://www.applieddatafinance.com/media/images/adf-logo.jpg">
            <a:extLst>
              <a:ext uri="{FF2B5EF4-FFF2-40B4-BE49-F238E27FC236}">
                <a16:creationId xmlns:a16="http://schemas.microsoft.com/office/drawing/2014/main" id="{FD7DC616-BE78-49D2-B3AF-3AE28B67920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971214" y="6267206"/>
            <a:ext cx="974725" cy="21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E169B6-6249-43F5-AB1C-780B6B8504C3}"/>
              </a:ext>
            </a:extLst>
          </p:cNvPr>
          <p:cNvSpPr txBox="1"/>
          <p:nvPr userDrawn="1"/>
        </p:nvSpPr>
        <p:spPr>
          <a:xfrm>
            <a:off x="11643360" y="6609969"/>
            <a:ext cx="243840" cy="1912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fld id="{6E50C3A9-A1C5-42D9-B08B-06176D99F5D4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9AE586-74AC-4E84-88B9-D689BA356AA7}"/>
              </a:ext>
            </a:extLst>
          </p:cNvPr>
          <p:cNvSpPr txBox="1"/>
          <p:nvPr userDrawn="1"/>
        </p:nvSpPr>
        <p:spPr>
          <a:xfrm>
            <a:off x="8901642" y="6609969"/>
            <a:ext cx="2563284" cy="1912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750" dirty="0">
                <a:solidFill>
                  <a:schemeClr val="bg1"/>
                </a:solidFill>
              </a:rPr>
              <a:t>Proprietary and Confidentia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D47B8A2-1477-4259-9408-3A49F39D5AC7}"/>
              </a:ext>
            </a:extLst>
          </p:cNvPr>
          <p:cNvCxnSpPr>
            <a:cxnSpLocks/>
          </p:cNvCxnSpPr>
          <p:nvPr userDrawn="1"/>
        </p:nvCxnSpPr>
        <p:spPr>
          <a:xfrm>
            <a:off x="11611611" y="6632687"/>
            <a:ext cx="0" cy="14582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EF206BBB-6542-4A5A-A5BA-D9C9D4F8B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2" y="225425"/>
            <a:ext cx="11582399" cy="765176"/>
          </a:xfrm>
        </p:spPr>
        <p:txBody>
          <a:bodyPr anchor="t"/>
          <a:lstStyle>
            <a:lvl1pPr>
              <a:defRPr sz="23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B2BC1EA4-10BF-4395-8FED-5DB500284F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2" y="6241152"/>
            <a:ext cx="10666412" cy="248547"/>
          </a:xfrm>
        </p:spPr>
        <p:txBody>
          <a:bodyPr lIns="0" tIns="0" rIns="0" bIns="0" anchor="b" anchorCtr="0"/>
          <a:lstStyle>
            <a:lvl1pPr marL="0" indent="0" algn="l">
              <a:spcBef>
                <a:spcPts val="0"/>
              </a:spcBef>
              <a:buNone/>
              <a:defRPr sz="800">
                <a:solidFill>
                  <a:schemeClr val="accent6">
                    <a:lumMod val="50000"/>
                  </a:schemeClr>
                </a:solidFill>
                <a:latin typeface="+mj-lt"/>
              </a:defRPr>
            </a:lvl1pPr>
            <a:lvl2pPr marL="205740" indent="0" algn="r">
              <a:buNone/>
              <a:defRPr/>
            </a:lvl2pPr>
            <a:lvl3pPr marL="411480" indent="0" algn="r">
              <a:buNone/>
              <a:defRPr/>
            </a:lvl3pPr>
            <a:lvl4pPr marL="617220" indent="0" algn="r">
              <a:buNone/>
              <a:defRPr/>
            </a:lvl4pPr>
            <a:lvl5pPr marL="822960" indent="0" algn="r">
              <a:buNone/>
              <a:defRPr/>
            </a:lvl5pPr>
          </a:lstStyle>
          <a:p>
            <a:pPr lvl="0"/>
            <a:r>
              <a:rPr lang="en-US" dirty="0"/>
              <a:t>Source Notes</a:t>
            </a:r>
          </a:p>
        </p:txBody>
      </p:sp>
    </p:spTree>
    <p:extLst>
      <p:ext uri="{BB962C8B-B14F-4D97-AF65-F5344CB8AC3E}">
        <p14:creationId xmlns:p14="http://schemas.microsoft.com/office/powerpoint/2010/main" val="82325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3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6614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2019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31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925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1253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555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3053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8492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E5BBFC-5F5D-F04E-9179-5F4666CBA7EE}" type="datetimeFigureOut">
              <a:rPr lang="en-US" smtClean="0"/>
              <a:t>5/1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43E5FEBB-47B5-C34E-9763-DD48A1271AAB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356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435B1-D90F-0EAB-2C1B-485FC909F0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T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037A1C-A7E3-621D-6975-F4D32616DAA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			PRAVEEN RAMESH</a:t>
            </a:r>
          </a:p>
          <a:p>
            <a:r>
              <a:rPr lang="en-US" dirty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40714084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8C82BB7B-3446-43B2-A7EB-EE356822A1F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74625"/>
            <a:ext cx="8686800" cy="461963"/>
          </a:xfrm>
        </p:spPr>
        <p:txBody>
          <a:bodyPr>
            <a:normAutofit fontScale="90000"/>
          </a:bodyPr>
          <a:lstStyle/>
          <a:p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br>
              <a:rPr lang="en-US" dirty="0">
                <a:solidFill>
                  <a:srgbClr val="418AB3"/>
                </a:solidFill>
              </a:rPr>
            </a:br>
            <a:endParaRPr lang="en-US" dirty="0">
              <a:solidFill>
                <a:srgbClr val="418AB3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D46392-0520-413E-BBB5-8A262562723C}"/>
              </a:ext>
            </a:extLst>
          </p:cNvPr>
          <p:cNvSpPr txBox="1"/>
          <p:nvPr/>
        </p:nvSpPr>
        <p:spPr>
          <a:xfrm>
            <a:off x="1752602" y="750551"/>
            <a:ext cx="8463336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>
                <a:latin typeface="Calibri" panose="020F0502020204030204" pitchFamily="34" charset="0"/>
              </a:rPr>
              <a:t>Insights</a:t>
            </a:r>
            <a:r>
              <a:rPr lang="en-US" sz="2000" dirty="0">
                <a:latin typeface="Segoe UI" panose="020B0502040204020203" pitchFamily="34" charset="0"/>
              </a:rPr>
              <a:t> </a:t>
            </a:r>
            <a:r>
              <a:rPr lang="en-US" sz="1900" dirty="0">
                <a:latin typeface="Calibri" panose="020F0502020204030204" pitchFamily="34" charset="0"/>
              </a:rPr>
              <a:t>from customer interactions can lead to valuable insights for the business and lead to operational efficiency</a:t>
            </a:r>
            <a:endParaRPr lang="en-US" sz="2000" dirty="0">
              <a:latin typeface="Segoe UI" panose="020B0502040204020203" pitchFamily="34" charset="0"/>
            </a:endParaRPr>
          </a:p>
          <a:p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Three major channels for communication – Chat/Email/Voice cal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In scope for analysis – voice da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Voice data transcribed using AWS – Transcrib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Comprises of interactions between customers and ag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Provides us ample opportunities to address process, agent performance and general customer experience improvements.</a:t>
            </a:r>
          </a:p>
          <a:p>
            <a:pPr lvl="1"/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Data Consideration for prototyp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900" dirty="0"/>
              <a:t>All transcriptions of voice data from October 2020 to January 202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Topic modell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9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3E5412-9A78-CAE2-B9FB-81608737D3A3}"/>
              </a:ext>
            </a:extLst>
          </p:cNvPr>
          <p:cNvSpPr txBox="1"/>
          <p:nvPr/>
        </p:nvSpPr>
        <p:spPr>
          <a:xfrm>
            <a:off x="680720" y="66954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9E3B2B-B14D-6776-3DDB-7F478F155494}"/>
              </a:ext>
            </a:extLst>
          </p:cNvPr>
          <p:cNvSpPr txBox="1"/>
          <p:nvPr/>
        </p:nvSpPr>
        <p:spPr>
          <a:xfrm>
            <a:off x="11575473" y="590203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355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26F45-37C3-483D-AFA3-A6A7F3CEE5B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5425"/>
            <a:ext cx="11582400" cy="765175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A027BAA-3D42-4436-97C3-9C867FF41DB2}"/>
              </a:ext>
            </a:extLst>
          </p:cNvPr>
          <p:cNvGraphicFramePr/>
          <p:nvPr/>
        </p:nvGraphicFramePr>
        <p:xfrm>
          <a:off x="1752601" y="595902"/>
          <a:ext cx="8686799" cy="53733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Arrow: U-Turn 4">
            <a:extLst>
              <a:ext uri="{FF2B5EF4-FFF2-40B4-BE49-F238E27FC236}">
                <a16:creationId xmlns:a16="http://schemas.microsoft.com/office/drawing/2014/main" id="{947FF809-EE59-4E77-ABBA-846574C05FF4}"/>
              </a:ext>
            </a:extLst>
          </p:cNvPr>
          <p:cNvSpPr/>
          <p:nvPr/>
        </p:nvSpPr>
        <p:spPr>
          <a:xfrm rot="10800000">
            <a:off x="6095999" y="4311189"/>
            <a:ext cx="3836710" cy="916779"/>
          </a:xfrm>
          <a:prstGeom prst="uturnArrow">
            <a:avLst>
              <a:gd name="adj1" fmla="val 13992"/>
              <a:gd name="adj2" fmla="val 25000"/>
              <a:gd name="adj3" fmla="val 25000"/>
              <a:gd name="adj4" fmla="val 43750"/>
              <a:gd name="adj5" fmla="val 92395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5271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EC8569-FD1F-4334-8DA0-557404DCEB1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5425"/>
            <a:ext cx="11582400" cy="765175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ing</a:t>
            </a:r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A86D86A-09C6-4FC4-8108-94CD2DA889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046" y="856086"/>
            <a:ext cx="7373455" cy="22414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1C0B14-1411-4A67-9463-960EAE44A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5549" y="3255883"/>
            <a:ext cx="6962451" cy="258910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0" name="Arrow: Down 9">
            <a:extLst>
              <a:ext uri="{FF2B5EF4-FFF2-40B4-BE49-F238E27FC236}">
                <a16:creationId xmlns:a16="http://schemas.microsoft.com/office/drawing/2014/main" id="{7A1503F8-403E-4C69-97F7-471FA5C0BBAD}"/>
              </a:ext>
            </a:extLst>
          </p:cNvPr>
          <p:cNvSpPr/>
          <p:nvPr/>
        </p:nvSpPr>
        <p:spPr>
          <a:xfrm>
            <a:off x="3866508" y="2114130"/>
            <a:ext cx="339046" cy="1142270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135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0E6C6B-609A-4018-8035-60F711EE0C8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5425"/>
            <a:ext cx="8686800" cy="612775"/>
          </a:xfrm>
        </p:spPr>
        <p:txBody>
          <a:bodyPr>
            <a:noAutofit/>
          </a:bodyPr>
          <a:lstStyle/>
          <a:p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tion </a:t>
            </a:r>
            <a:b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9 topics on Chat dat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AE8D1-8B1F-42BB-A60B-4FAA143087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2600" y="1910994"/>
            <a:ext cx="3672840" cy="3727140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8A55972-1590-4EBE-B3EF-684790C359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525908"/>
              </p:ext>
            </p:extLst>
          </p:nvPr>
        </p:nvGraphicFramePr>
        <p:xfrm>
          <a:off x="6363128" y="1910994"/>
          <a:ext cx="3532712" cy="3727140"/>
        </p:xfrm>
        <a:graphic>
          <a:graphicData uri="http://schemas.openxmlformats.org/drawingml/2006/table">
            <a:tbl>
              <a:tblPr firstRow="1" firstCol="1" bandCol="1">
                <a:tableStyleId>{5C22544A-7EE6-4342-B048-85BDC9FD1C3A}</a:tableStyleId>
              </a:tblPr>
              <a:tblGrid>
                <a:gridCol w="602351">
                  <a:extLst>
                    <a:ext uri="{9D8B030D-6E8A-4147-A177-3AD203B41FA5}">
                      <a16:colId xmlns:a16="http://schemas.microsoft.com/office/drawing/2014/main" val="273938318"/>
                    </a:ext>
                  </a:extLst>
                </a:gridCol>
                <a:gridCol w="2930361">
                  <a:extLst>
                    <a:ext uri="{9D8B030D-6E8A-4147-A177-3AD203B41FA5}">
                      <a16:colId xmlns:a16="http://schemas.microsoft.com/office/drawing/2014/main" val="1420134633"/>
                    </a:ext>
                  </a:extLst>
                </a:gridCol>
              </a:tblGrid>
              <a:tr h="3727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Topic #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 Topic Identifie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09874122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Email Communication Issu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63675885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Issue &amp; Escalations - Delay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29073031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Application completion Assistanc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7409721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Application FAQ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69579036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>
                          <a:effectLst/>
                        </a:rPr>
                        <a:t> Document Submission - Doub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51564367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Decision Logic page - Issues &amp; Doub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40041687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Application Changes/Cancellation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31965409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>
                          <a:effectLst/>
                        </a:rPr>
                        <a:t> Offer Details - Enquiri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43659156"/>
                  </a:ext>
                </a:extLst>
              </a:tr>
              <a:tr h="372714"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100" u="none" strike="noStrike" dirty="0">
                          <a:effectLst/>
                        </a:rPr>
                        <a:t> Loan Terms - Doub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0651478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4E06566-3A91-4E90-8A75-55434A477397}"/>
              </a:ext>
            </a:extLst>
          </p:cNvPr>
          <p:cNvSpPr txBox="1"/>
          <p:nvPr/>
        </p:nvSpPr>
        <p:spPr>
          <a:xfrm>
            <a:off x="1752600" y="1160184"/>
            <a:ext cx="8686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8,772 chat conversations between Sept ’19 and Nov ‘20 at an average rate of 20 chats per day and each chat comprising of at least 8 conversations between </a:t>
            </a:r>
            <a:r>
              <a:rPr lang="en-US" i="1" dirty="0"/>
              <a:t>visitors </a:t>
            </a:r>
            <a:r>
              <a:rPr lang="en-US" dirty="0"/>
              <a:t>and </a:t>
            </a:r>
            <a:r>
              <a:rPr lang="en-US" i="1" dirty="0"/>
              <a:t>agents. </a:t>
            </a:r>
          </a:p>
        </p:txBody>
      </p:sp>
    </p:spTree>
    <p:extLst>
      <p:ext uri="{BB962C8B-B14F-4D97-AF65-F5344CB8AC3E}">
        <p14:creationId xmlns:p14="http://schemas.microsoft.com/office/powerpoint/2010/main" val="13988546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756825-C357-445D-A1C0-AAC42196BC1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5425"/>
            <a:ext cx="11582400" cy="765175"/>
          </a:xfrm>
        </p:spPr>
        <p:txBody>
          <a:bodyPr>
            <a:normAutofit/>
          </a:bodyPr>
          <a:lstStyle/>
          <a:p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Validatio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4D43677-1B05-4B4B-9BCD-45B96F562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1" y="2218199"/>
            <a:ext cx="4343399" cy="341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C68FB22-C341-4C6D-90DD-12C3B03FF60E}"/>
              </a:ext>
            </a:extLst>
          </p:cNvPr>
          <p:cNvSpPr txBox="1"/>
          <p:nvPr/>
        </p:nvSpPr>
        <p:spPr>
          <a:xfrm>
            <a:off x="1752601" y="740871"/>
            <a:ext cx="730235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Size (# of tokens assigned) </a:t>
            </a:r>
          </a:p>
          <a:p>
            <a:pPr marL="342900" indent="-342900">
              <a:buAutoNum type="arabicPeriod"/>
            </a:pPr>
            <a:r>
              <a:rPr lang="en-US" dirty="0"/>
              <a:t>Within-doc rank </a:t>
            </a:r>
          </a:p>
          <a:p>
            <a:pPr marL="342900" indent="-342900">
              <a:buAutoNum type="arabicPeriod"/>
            </a:pPr>
            <a:r>
              <a:rPr lang="en-US" dirty="0"/>
              <a:t>Similarity to corpus-wide distribution </a:t>
            </a:r>
          </a:p>
          <a:p>
            <a:pPr marL="342900" indent="-342900">
              <a:buAutoNum type="arabicPeriod"/>
            </a:pPr>
            <a:r>
              <a:rPr lang="en-US" dirty="0"/>
              <a:t>Locally-frequent words </a:t>
            </a:r>
          </a:p>
          <a:p>
            <a:pPr marL="342900" indent="-342900">
              <a:buAutoNum type="arabicPeriod"/>
            </a:pPr>
            <a:r>
              <a:rPr lang="en-US" dirty="0"/>
              <a:t>Co-doc Coherence</a:t>
            </a:r>
          </a:p>
        </p:txBody>
      </p:sp>
    </p:spTree>
    <p:extLst>
      <p:ext uri="{BB962C8B-B14F-4D97-AF65-F5344CB8AC3E}">
        <p14:creationId xmlns:p14="http://schemas.microsoft.com/office/powerpoint/2010/main" val="2385957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C119354E-A1ED-0449-A9AC-F8D22BEAB850}tf10001119_mac</Template>
  <TotalTime>18</TotalTime>
  <Words>317</Words>
  <Application>Microsoft Macintosh PowerPoint</Application>
  <PresentationFormat>Widescreen</PresentationFormat>
  <Paragraphs>7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Gill Sans MT</vt:lpstr>
      <vt:lpstr>Segoe UI</vt:lpstr>
      <vt:lpstr>Gallery</vt:lpstr>
      <vt:lpstr>think-cell Slide</vt:lpstr>
      <vt:lpstr>CHAT data analysis</vt:lpstr>
      <vt:lpstr>Overview </vt:lpstr>
      <vt:lpstr>Pipeline</vt:lpstr>
      <vt:lpstr>Modelling</vt:lpstr>
      <vt:lpstr>Demonstration  Distribution of 9 topics on Chat data</vt:lpstr>
      <vt:lpstr>Model Valid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T data analysis</dc:title>
  <dc:creator>Praveen Ramesh</dc:creator>
  <cp:lastModifiedBy>Praveen Ramesh</cp:lastModifiedBy>
  <cp:revision>2</cp:revision>
  <dcterms:created xsi:type="dcterms:W3CDTF">2023-05-11T17:51:12Z</dcterms:created>
  <dcterms:modified xsi:type="dcterms:W3CDTF">2023-05-11T18:13:35Z</dcterms:modified>
</cp:coreProperties>
</file>